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6"/>
  </p:notesMasterIdLst>
  <p:handoutMasterIdLst>
    <p:handoutMasterId r:id="rId7"/>
  </p:handoutMasterIdLst>
  <p:sldIdLst>
    <p:sldId id="379" r:id="rId2"/>
    <p:sldId id="425" r:id="rId3"/>
    <p:sldId id="433" r:id="rId4"/>
    <p:sldId id="427" r:id="rId5"/>
  </p:sldIdLst>
  <p:sldSz cx="9144000" cy="6858000" type="screen4x3"/>
  <p:notesSz cx="7099300" cy="10234613"/>
  <p:custDataLst>
    <p:tags r:id="rId8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B6B0"/>
    <a:srgbClr val="FFFFFF"/>
    <a:srgbClr val="666666"/>
    <a:srgbClr val="368F9A"/>
    <a:srgbClr val="427BAB"/>
    <a:srgbClr val="64B9E4"/>
    <a:srgbClr val="9F4C97"/>
    <a:srgbClr val="EDA95A"/>
    <a:srgbClr val="FDD167"/>
    <a:srgbClr val="3C7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76" autoAdjust="0"/>
    <p:restoredTop sz="96338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1584" y="9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2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8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30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jpeg"/><Relationship Id="rId7" Type="http://schemas.openxmlformats.org/officeDocument/2006/relationships/image" Target="../media/image17.sv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Relationship Id="rId9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9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81000" y="2311266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b="1" dirty="0">
                <a:latin typeface="Segoe UI" panose="020B0502040204020203" pitchFamily="34" charset="0"/>
                <a:cs typeface="Segoe UI" panose="020B0502040204020203" pitchFamily="34" charset="0"/>
              </a:rPr>
              <a:t>IoT Hackathon</a:t>
            </a:r>
            <a:br>
              <a:rPr lang="de-DE" sz="40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30.06.2020 </a:t>
            </a:r>
            <a:br>
              <a:rPr lang="de-DE" sz="4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uppe </a:t>
            </a:r>
            <a:r>
              <a:rPr lang="de-DE" sz="18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artHomeOffice</a:t>
            </a:r>
            <a: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b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reas Knoll, Alex Maks, Alessio Dal </a:t>
            </a:r>
            <a:r>
              <a:rPr lang="de-DE" sz="16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ro</a:t>
            </a:r>
            <a:r>
              <a: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Damiano </a:t>
            </a:r>
            <a:r>
              <a:rPr lang="de-DE" sz="16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uillante</a:t>
            </a:r>
            <a:r>
              <a: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Robert Moleda</a:t>
            </a:r>
            <a:endParaRPr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D251E66-8A36-4EB3-9828-BA3F52F2C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016" y="156120"/>
            <a:ext cx="7886700" cy="1325563"/>
          </a:xfrm>
        </p:spPr>
        <p:txBody>
          <a:bodyPr/>
          <a:lstStyle/>
          <a:p>
            <a:r>
              <a:rPr lang="de-DE" dirty="0"/>
              <a:t>Ziel ist die einfache Anpassung der eigenen vier Wände mit Hilfe von IoT und Smart Home Geräten</a:t>
            </a:r>
          </a:p>
        </p:txBody>
      </p:sp>
      <p:pic>
        <p:nvPicPr>
          <p:cNvPr id="304130" name="Picture 2">
            <a:extLst>
              <a:ext uri="{FF2B5EF4-FFF2-40B4-BE49-F238E27FC236}">
                <a16:creationId xmlns:a16="http://schemas.microsoft.com/office/drawing/2014/main" id="{23428D2A-2D9B-4610-B61F-44E482024D1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16" y="1723668"/>
            <a:ext cx="3854853" cy="2167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7DBAE722-B171-4740-A723-AFEA035BA6D8}"/>
              </a:ext>
            </a:extLst>
          </p:cNvPr>
          <p:cNvSpPr/>
          <p:nvPr/>
        </p:nvSpPr>
        <p:spPr>
          <a:xfrm>
            <a:off x="627016" y="4263794"/>
            <a:ext cx="7132321" cy="1803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Beleucht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Elektrische Anlagen wie z.B. Schalter oder Steckdos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Sensoren wie z.B. Bewegungs- oder Lichtsensor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Entertainment </a:t>
            </a:r>
            <a:r>
              <a:rPr lang="de-DE" dirty="0" err="1">
                <a:solidFill>
                  <a:srgbClr val="24292E"/>
                </a:solidFill>
                <a:latin typeface="-apple-system"/>
              </a:rPr>
              <a:t>devices</a:t>
            </a:r>
            <a:r>
              <a:rPr lang="de-DE" dirty="0">
                <a:solidFill>
                  <a:srgbClr val="24292E"/>
                </a:solidFill>
                <a:latin typeface="-apple-system"/>
              </a:rPr>
              <a:t> wie z.B. Soundbar oder Spielkonso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Steuerungsgateway</a:t>
            </a:r>
            <a:endParaRPr lang="de-DE" b="0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3F4FCFC-2FF7-4844-902C-906E86B278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0366" y="3429000"/>
            <a:ext cx="4443241" cy="84811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053E31F-8226-4E5C-9A24-5B2A198E0D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0366" y="1686833"/>
            <a:ext cx="4098742" cy="1380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06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D251E66-8A36-4EB3-9828-BA3F52F2C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016" y="156120"/>
            <a:ext cx="7886700" cy="1325563"/>
          </a:xfrm>
        </p:spPr>
        <p:txBody>
          <a:bodyPr/>
          <a:lstStyle/>
          <a:p>
            <a:r>
              <a:rPr lang="de-DE" dirty="0"/>
              <a:t>Das Konzept wurde als Prototyp  bereits implementiert, Beispielszene Work</a:t>
            </a:r>
          </a:p>
        </p:txBody>
      </p:sp>
      <p:pic>
        <p:nvPicPr>
          <p:cNvPr id="305154" name="Picture 2">
            <a:extLst>
              <a:ext uri="{FF2B5EF4-FFF2-40B4-BE49-F238E27FC236}">
                <a16:creationId xmlns:a16="http://schemas.microsoft.com/office/drawing/2014/main" id="{3084721B-38AA-4F73-A795-8FCFE660DD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3" y="1621020"/>
            <a:ext cx="1463993" cy="316697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B9F362A4-4304-4190-B6F4-61CF76BEB108}"/>
              </a:ext>
            </a:extLst>
          </p:cNvPr>
          <p:cNvSpPr/>
          <p:nvPr/>
        </p:nvSpPr>
        <p:spPr>
          <a:xfrm>
            <a:off x="176562" y="5071070"/>
            <a:ext cx="3045609" cy="788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rgbClr val="24292E"/>
                </a:solidFill>
                <a:latin typeface="-apple-system"/>
              </a:rPr>
              <a:t>Smart </a:t>
            </a:r>
            <a:r>
              <a:rPr lang="de-DE" dirty="0" err="1">
                <a:solidFill>
                  <a:srgbClr val="24292E"/>
                </a:solidFill>
                <a:latin typeface="-apple-system"/>
              </a:rPr>
              <a:t>Bulb</a:t>
            </a:r>
            <a:r>
              <a:rPr lang="de-DE" dirty="0">
                <a:solidFill>
                  <a:srgbClr val="24292E"/>
                </a:solidFill>
                <a:latin typeface="-apple-system"/>
              </a:rPr>
              <a:t> auf kalt-weißes Licht (6.000 Kelvin) und 100 % Lichtintensität (800 Lumen)</a:t>
            </a:r>
            <a:endParaRPr lang="de-DE" dirty="0"/>
          </a:p>
        </p:txBody>
      </p:sp>
      <p:pic>
        <p:nvPicPr>
          <p:cNvPr id="305156" name="Picture 4">
            <a:extLst>
              <a:ext uri="{FF2B5EF4-FFF2-40B4-BE49-F238E27FC236}">
                <a16:creationId xmlns:a16="http://schemas.microsoft.com/office/drawing/2014/main" id="{9E523F14-6541-465E-A714-84A5BE391B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995" y="1621020"/>
            <a:ext cx="1644650" cy="331071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F13B74D7-24FD-4EC5-8812-76E988EF2F59}"/>
              </a:ext>
            </a:extLst>
          </p:cNvPr>
          <p:cNvSpPr/>
          <p:nvPr/>
        </p:nvSpPr>
        <p:spPr>
          <a:xfrm>
            <a:off x="3449137" y="5048850"/>
            <a:ext cx="2242458" cy="788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rgbClr val="24292E"/>
                </a:solidFill>
                <a:latin typeface="-apple-system"/>
              </a:rPr>
              <a:t>Philips Hue Integration bei IFTTT für den Modus Work</a:t>
            </a:r>
            <a:endParaRPr lang="de-DE" dirty="0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D3C3DE4C-1055-49B1-B6FB-B737C673D92F}"/>
              </a:ext>
            </a:extLst>
          </p:cNvPr>
          <p:cNvCxnSpPr/>
          <p:nvPr/>
        </p:nvCxnSpPr>
        <p:spPr>
          <a:xfrm>
            <a:off x="2447109" y="3276376"/>
            <a:ext cx="10020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DFC7FA7-C9A2-4A16-BDF0-4C6F0E1D7284}"/>
              </a:ext>
            </a:extLst>
          </p:cNvPr>
          <p:cNvCxnSpPr>
            <a:cxnSpLocks/>
          </p:cNvCxnSpPr>
          <p:nvPr/>
        </p:nvCxnSpPr>
        <p:spPr>
          <a:xfrm flipV="1">
            <a:off x="5512526" y="3265266"/>
            <a:ext cx="819147" cy="11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05158" name="Picture 6">
            <a:extLst>
              <a:ext uri="{FF2B5EF4-FFF2-40B4-BE49-F238E27FC236}">
                <a16:creationId xmlns:a16="http://schemas.microsoft.com/office/drawing/2014/main" id="{EBDAC73C-8AF6-4970-B4DC-AA419116A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899" y="1568773"/>
            <a:ext cx="1690466" cy="345004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72AFDA6-A68A-4F3F-939D-98C5C445D901}"/>
              </a:ext>
            </a:extLst>
          </p:cNvPr>
          <p:cNvSpPr/>
          <p:nvPr/>
        </p:nvSpPr>
        <p:spPr>
          <a:xfrm>
            <a:off x="6210301" y="5159887"/>
            <a:ext cx="2757137" cy="557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rgbClr val="24292E"/>
                </a:solidFill>
                <a:latin typeface="-apple-system"/>
              </a:rPr>
              <a:t>Schreiben des Links von </a:t>
            </a:r>
            <a:r>
              <a:rPr lang="de-DE" dirty="0" err="1">
                <a:solidFill>
                  <a:srgbClr val="24292E"/>
                </a:solidFill>
                <a:latin typeface="-apple-system"/>
              </a:rPr>
              <a:t>Webhook</a:t>
            </a:r>
            <a:r>
              <a:rPr lang="de-DE" dirty="0">
                <a:solidFill>
                  <a:srgbClr val="24292E"/>
                </a:solidFill>
                <a:latin typeface="-apple-system"/>
              </a:rPr>
              <a:t> auf NFC T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0037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D251E66-8A36-4EB3-9828-BA3F52F2C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 Umsetzung und Evaluierung</a:t>
            </a:r>
          </a:p>
        </p:txBody>
      </p:sp>
      <p:pic>
        <p:nvPicPr>
          <p:cNvPr id="306178" name="Picture 2">
            <a:extLst>
              <a:ext uri="{FF2B5EF4-FFF2-40B4-BE49-F238E27FC236}">
                <a16:creationId xmlns:a16="http://schemas.microsoft.com/office/drawing/2014/main" id="{8A4D32F4-4D04-4AC8-8ADB-D1C5FE5DC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62"/>
          <a:stretch/>
        </p:blipFill>
        <p:spPr bwMode="auto">
          <a:xfrm>
            <a:off x="3080159" y="1445226"/>
            <a:ext cx="2051788" cy="184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0" name="Picture 4">
            <a:extLst>
              <a:ext uri="{FF2B5EF4-FFF2-40B4-BE49-F238E27FC236}">
                <a16:creationId xmlns:a16="http://schemas.microsoft.com/office/drawing/2014/main" id="{56089359-CF0C-4EC3-A9C5-C821A52BA6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76"/>
          <a:stretch/>
        </p:blipFill>
        <p:spPr bwMode="auto">
          <a:xfrm>
            <a:off x="5916600" y="1445225"/>
            <a:ext cx="2330064" cy="1824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2" name="Picture 6">
            <a:extLst>
              <a:ext uri="{FF2B5EF4-FFF2-40B4-BE49-F238E27FC236}">
                <a16:creationId xmlns:a16="http://schemas.microsoft.com/office/drawing/2014/main" id="{709C769C-F233-4A9D-BCDB-B67F986B88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76"/>
          <a:stretch/>
        </p:blipFill>
        <p:spPr bwMode="auto">
          <a:xfrm>
            <a:off x="3080158" y="3630838"/>
            <a:ext cx="2051788" cy="199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4" name="Picture 8">
            <a:extLst>
              <a:ext uri="{FF2B5EF4-FFF2-40B4-BE49-F238E27FC236}">
                <a16:creationId xmlns:a16="http://schemas.microsoft.com/office/drawing/2014/main" id="{47CE57E3-E307-4191-8039-F1EFA45745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27"/>
          <a:stretch/>
        </p:blipFill>
        <p:spPr bwMode="auto">
          <a:xfrm>
            <a:off x="5916600" y="3630837"/>
            <a:ext cx="2330063" cy="2009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F86E3E5-6A90-4A6E-B725-D1048FEA16A3}"/>
              </a:ext>
            </a:extLst>
          </p:cNvPr>
          <p:cNvSpPr/>
          <p:nvPr/>
        </p:nvSpPr>
        <p:spPr>
          <a:xfrm>
            <a:off x="893321" y="2515095"/>
            <a:ext cx="1586203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24292E"/>
                </a:solidFill>
                <a:latin typeface="-apple-system"/>
              </a:rPr>
              <a:t>Szene "Arbeit"</a:t>
            </a:r>
            <a:endParaRPr lang="de-DE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5F76CED-1CE4-4382-94F2-94E5C62DFC0F}"/>
              </a:ext>
            </a:extLst>
          </p:cNvPr>
          <p:cNvSpPr/>
          <p:nvPr/>
        </p:nvSpPr>
        <p:spPr>
          <a:xfrm>
            <a:off x="726313" y="5015399"/>
            <a:ext cx="2117887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24292E"/>
                </a:solidFill>
                <a:latin typeface="-apple-system"/>
              </a:rPr>
              <a:t>Szene "Entspannen"</a:t>
            </a:r>
            <a:endParaRPr lang="de-DE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277D025-5C00-498F-BB66-0AD1C803D353}"/>
              </a:ext>
            </a:extLst>
          </p:cNvPr>
          <p:cNvCxnSpPr>
            <a:cxnSpLocks/>
          </p:cNvCxnSpPr>
          <p:nvPr/>
        </p:nvCxnSpPr>
        <p:spPr>
          <a:xfrm>
            <a:off x="5199017" y="2515095"/>
            <a:ext cx="548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6BCC743-5177-4C0D-A9FA-9558A33FBE55}"/>
              </a:ext>
            </a:extLst>
          </p:cNvPr>
          <p:cNvCxnSpPr>
            <a:cxnSpLocks/>
          </p:cNvCxnSpPr>
          <p:nvPr/>
        </p:nvCxnSpPr>
        <p:spPr>
          <a:xfrm>
            <a:off x="5199017" y="4828293"/>
            <a:ext cx="5921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Grafik 12" descr="Aktenkoffer">
            <a:extLst>
              <a:ext uri="{FF2B5EF4-FFF2-40B4-BE49-F238E27FC236}">
                <a16:creationId xmlns:a16="http://schemas.microsoft.com/office/drawing/2014/main" id="{2F2B4585-C9D2-4F7B-BBDF-EF2A6B1B25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9222" y="1566024"/>
            <a:ext cx="914400" cy="914400"/>
          </a:xfrm>
          <a:prstGeom prst="rect">
            <a:avLst/>
          </a:prstGeom>
        </p:spPr>
      </p:pic>
      <p:pic>
        <p:nvPicPr>
          <p:cNvPr id="17" name="Grafik 16" descr="Urlaub">
            <a:extLst>
              <a:ext uri="{FF2B5EF4-FFF2-40B4-BE49-F238E27FC236}">
                <a16:creationId xmlns:a16="http://schemas.microsoft.com/office/drawing/2014/main" id="{B912AD99-C142-4395-B409-910616C665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43583" y="4016535"/>
            <a:ext cx="914400" cy="914400"/>
          </a:xfrm>
          <a:prstGeom prst="rect">
            <a:avLst/>
          </a:prstGeom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9CACD3-3867-4301-8A6F-ABBC3B0AA63F}"/>
              </a:ext>
            </a:extLst>
          </p:cNvPr>
          <p:cNvCxnSpPr/>
          <p:nvPr/>
        </p:nvCxnSpPr>
        <p:spPr>
          <a:xfrm>
            <a:off x="452842" y="3492135"/>
            <a:ext cx="8438606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2544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5</Words>
  <Application>Microsoft Office PowerPoint</Application>
  <PresentationFormat>Bildschirmpräsentation (4:3)</PresentationFormat>
  <Paragraphs>18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5" baseType="lpstr">
      <vt:lpstr>-apple-system</vt:lpstr>
      <vt:lpstr>Arial</vt:lpstr>
      <vt:lpstr>Franklin Gothic Book</vt:lpstr>
      <vt:lpstr>Franklin Gothic Demi</vt:lpstr>
      <vt:lpstr>Segoe UI</vt:lpstr>
      <vt:lpstr>Symbol</vt:lpstr>
      <vt:lpstr>Tele-GroteskFet</vt:lpstr>
      <vt:lpstr>Tele-GroteskNor</vt:lpstr>
      <vt:lpstr>Wingdings</vt:lpstr>
      <vt:lpstr>Office Theme</vt:lpstr>
      <vt:lpstr>think-cell Folie</vt:lpstr>
      <vt:lpstr>IoT Hackathon 30.06.2020    Gruppe SmartHomeOffice:   Andreas Knoll, Alex Maks, Alessio Dal Cero, Damiano Squillante, Robert Moleda</vt:lpstr>
      <vt:lpstr>Ziel ist die einfache Anpassung der eigenen vier Wände mit Hilfe von IoT und Smart Home Geräten</vt:lpstr>
      <vt:lpstr>Das Konzept wurde als Prototyp  bereits implementiert, Beispielszene Work</vt:lpstr>
      <vt:lpstr>Ergebnis Umsetzung und Evaluieru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Robert Moleda</cp:lastModifiedBy>
  <cp:revision>181</cp:revision>
  <cp:lastPrinted>2012-09-04T09:22:48Z</cp:lastPrinted>
  <dcterms:created xsi:type="dcterms:W3CDTF">2011-07-07T11:12:14Z</dcterms:created>
  <dcterms:modified xsi:type="dcterms:W3CDTF">2020-06-30T13:3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